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66" r:id="rId2"/>
    <p:sldId id="1607" r:id="rId3"/>
    <p:sldId id="277" r:id="rId4"/>
    <p:sldId id="1562" r:id="rId5"/>
    <p:sldId id="1583" r:id="rId6"/>
    <p:sldId id="1586" r:id="rId7"/>
    <p:sldId id="1615" r:id="rId8"/>
    <p:sldId id="1616" r:id="rId9"/>
    <p:sldId id="1618" r:id="rId10"/>
    <p:sldId id="1617" r:id="rId11"/>
    <p:sldId id="1613" r:id="rId12"/>
    <p:sldId id="1590" r:id="rId13"/>
    <p:sldId id="1595" r:id="rId14"/>
    <p:sldId id="1612" r:id="rId15"/>
    <p:sldId id="1614" r:id="rId16"/>
    <p:sldId id="1610" r:id="rId17"/>
    <p:sldId id="159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E8"/>
    <a:srgbClr val="E8F3E6"/>
    <a:srgbClr val="FFF6E2"/>
    <a:srgbClr val="E0EAF8"/>
    <a:srgbClr val="000000"/>
    <a:srgbClr val="FFD282"/>
    <a:srgbClr val="FAAA41"/>
    <a:srgbClr val="9D9D9D"/>
    <a:srgbClr val="707070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803D7-F440-F045-9E75-35AF780B991E}" v="2022" dt="2021-01-27T15:59:12.4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52" autoAdjust="0"/>
    <p:restoredTop sz="84384" autoAdjust="0"/>
  </p:normalViewPr>
  <p:slideViewPr>
    <p:cSldViewPr snapToGrid="0" snapToObjects="1">
      <p:cViewPr varScale="1">
        <p:scale>
          <a:sx n="92" d="100"/>
          <a:sy n="92" d="100"/>
        </p:scale>
        <p:origin x="170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BA119-491B-4624-9D19-375DBF0D2CBA}" type="datetimeFigureOut">
              <a:rPr lang="de-DE" smtClean="0"/>
              <a:t>28.01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31774-6AE9-4F35-BB8D-ABC0FC9754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92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54366-25A1-4235-B57F-F2917B09700B}" type="datetimeFigureOut">
              <a:rPr lang="de-DE" smtClean="0"/>
              <a:pPr/>
              <a:t>28.01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11BC-650A-4DA6-BF2C-DF0DA485ADB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06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0668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91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242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653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89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16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7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77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08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ben viele Daten und Algorithmen, die selber latente Features aus den Daten bauen. </a:t>
            </a:r>
          </a:p>
          <a:p>
            <a:r>
              <a:rPr lang="de-DE" dirty="0"/>
              <a:t>Wir selber brauchen nicht viel machen, außer der </a:t>
            </a:r>
            <a:r>
              <a:rPr lang="de-DE" dirty="0" err="1"/>
              <a:t>Machine</a:t>
            </a:r>
            <a:r>
              <a:rPr lang="de-DE" dirty="0"/>
              <a:t> sagen, was sie machen soll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7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5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461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6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6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9202829" y="673098"/>
            <a:ext cx="3096106" cy="5972684"/>
            <a:chOff x="6144819" y="673098"/>
            <a:chExt cx="3096106" cy="5972684"/>
          </a:xfrm>
        </p:grpSpPr>
        <p:sp>
          <p:nvSpPr>
            <p:cNvPr id="21" name="Gleichschenkliges Dreieck 20"/>
            <p:cNvSpPr/>
            <p:nvPr userDrawn="1"/>
          </p:nvSpPr>
          <p:spPr>
            <a:xfrm rot="16200000">
              <a:off x="4823889" y="2265982"/>
              <a:ext cx="5910795" cy="2725027"/>
            </a:xfrm>
            <a:prstGeom prst="triangle">
              <a:avLst>
                <a:gd name="adj" fmla="val 20576"/>
              </a:avLst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 rot="12240000">
              <a:off x="6144819" y="5966845"/>
              <a:ext cx="3096106" cy="678937"/>
            </a:xfrm>
            <a:custGeom>
              <a:avLst/>
              <a:gdLst>
                <a:gd name="connsiteX0" fmla="*/ 0 w 3477916"/>
                <a:gd name="connsiteY0" fmla="*/ 764402 h 764402"/>
                <a:gd name="connsiteX1" fmla="*/ 1068520 w 3477916"/>
                <a:gd name="connsiteY1" fmla="*/ 0 h 764402"/>
                <a:gd name="connsiteX2" fmla="*/ 3477916 w 3477916"/>
                <a:gd name="connsiteY2" fmla="*/ 764402 h 764402"/>
                <a:gd name="connsiteX3" fmla="*/ 0 w 3477916"/>
                <a:gd name="connsiteY3" fmla="*/ 764402 h 764402"/>
                <a:gd name="connsiteX0" fmla="*/ 0 w 3477916"/>
                <a:gd name="connsiteY0" fmla="*/ 764402 h 764402"/>
                <a:gd name="connsiteX1" fmla="*/ 283345 w 3477916"/>
                <a:gd name="connsiteY1" fmla="*/ 447507 h 764402"/>
                <a:gd name="connsiteX2" fmla="*/ 1068520 w 3477916"/>
                <a:gd name="connsiteY2" fmla="*/ 0 h 764402"/>
                <a:gd name="connsiteX3" fmla="*/ 3477916 w 3477916"/>
                <a:gd name="connsiteY3" fmla="*/ 764402 h 764402"/>
                <a:gd name="connsiteX4" fmla="*/ 0 w 3477916"/>
                <a:gd name="connsiteY4" fmla="*/ 764402 h 764402"/>
                <a:gd name="connsiteX0" fmla="*/ 207945 w 3194571"/>
                <a:gd name="connsiteY0" fmla="*/ 761580 h 764402"/>
                <a:gd name="connsiteX1" fmla="*/ 0 w 3194571"/>
                <a:gd name="connsiteY1" fmla="*/ 447507 h 764402"/>
                <a:gd name="connsiteX2" fmla="*/ 785175 w 3194571"/>
                <a:gd name="connsiteY2" fmla="*/ 0 h 764402"/>
                <a:gd name="connsiteX3" fmla="*/ 3194571 w 3194571"/>
                <a:gd name="connsiteY3" fmla="*/ 764402 h 764402"/>
                <a:gd name="connsiteX4" fmla="*/ 207945 w 3194571"/>
                <a:gd name="connsiteY4" fmla="*/ 761580 h 764402"/>
                <a:gd name="connsiteX0" fmla="*/ 207945 w 3194571"/>
                <a:gd name="connsiteY0" fmla="*/ 676115 h 678937"/>
                <a:gd name="connsiteX1" fmla="*/ 0 w 3194571"/>
                <a:gd name="connsiteY1" fmla="*/ 362042 h 678937"/>
                <a:gd name="connsiteX2" fmla="*/ 1052607 w 3194571"/>
                <a:gd name="connsiteY2" fmla="*/ 0 h 678937"/>
                <a:gd name="connsiteX3" fmla="*/ 3194571 w 3194571"/>
                <a:gd name="connsiteY3" fmla="*/ 678937 h 678937"/>
                <a:gd name="connsiteX4" fmla="*/ 207945 w 3194571"/>
                <a:gd name="connsiteY4" fmla="*/ 676115 h 678937"/>
                <a:gd name="connsiteX0" fmla="*/ 109480 w 3096106"/>
                <a:gd name="connsiteY0" fmla="*/ 676115 h 678937"/>
                <a:gd name="connsiteX1" fmla="*/ 0 w 3096106"/>
                <a:gd name="connsiteY1" fmla="*/ 424810 h 678937"/>
                <a:gd name="connsiteX2" fmla="*/ 954142 w 3096106"/>
                <a:gd name="connsiteY2" fmla="*/ 0 h 678937"/>
                <a:gd name="connsiteX3" fmla="*/ 3096106 w 3096106"/>
                <a:gd name="connsiteY3" fmla="*/ 678937 h 678937"/>
                <a:gd name="connsiteX4" fmla="*/ 109480 w 3096106"/>
                <a:gd name="connsiteY4" fmla="*/ 676115 h 6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6106" h="678937">
                  <a:moveTo>
                    <a:pt x="109480" y="676115"/>
                  </a:moveTo>
                  <a:lnTo>
                    <a:pt x="0" y="424810"/>
                  </a:lnTo>
                  <a:lnTo>
                    <a:pt x="954142" y="0"/>
                  </a:lnTo>
                  <a:lnTo>
                    <a:pt x="3096106" y="678937"/>
                  </a:lnTo>
                  <a:lnTo>
                    <a:pt x="109480" y="676115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47682" y="5594539"/>
            <a:ext cx="10897562" cy="236988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None/>
              <a:defRPr sz="1400" b="1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Hans Mustermann (fet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600" cy="2638354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/>
              <a:t>Präsentations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7700" y="5359401"/>
            <a:ext cx="10896600" cy="236988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rankfurt, </a:t>
            </a:r>
            <a:fld id="{89950866-8BFF-464B-88F9-24EC404E6B64}" type="datetime4">
              <a:rPr lang="de-DE" smtClean="0"/>
              <a:t>21. Mai 2019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4" name="Freihandform 23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leichschenkliges Dreieck 24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4504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0327" y="908051"/>
            <a:ext cx="10893972" cy="68421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800" baseline="0" dirty="0"/>
            </a:lvl1pPr>
          </a:lstStyle>
          <a:p>
            <a:pPr lvl="0">
              <a:lnSpc>
                <a:spcPct val="100000"/>
              </a:lnSpc>
            </a:pPr>
            <a:r>
              <a:rPr lang="de-DE" dirty="0" err="1"/>
              <a:t>Agendatitel</a:t>
            </a:r>
            <a:r>
              <a:rPr lang="de-DE" dirty="0"/>
              <a:t> durch Klicken hinzufügen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 marL="266400" indent="-266400">
              <a:buClr>
                <a:schemeClr val="tx1"/>
              </a:buClr>
              <a:buFont typeface="+mj-lt"/>
              <a:buAutoNum type="arabicPeriod"/>
              <a:defRPr/>
            </a:lvl1pPr>
          </a:lstStyle>
          <a:p>
            <a:r>
              <a:rPr lang="de-DE" dirty="0" err="1"/>
              <a:t>Agendapunkte</a:t>
            </a:r>
            <a:r>
              <a:rPr lang="de-DE" dirty="0"/>
              <a:t> 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266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27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599" cy="2600104"/>
          </a:xfrm>
        </p:spPr>
        <p:txBody>
          <a:bodyPr/>
          <a:lstStyle>
            <a:lvl1pPr algn="l">
              <a:defRPr sz="2800" baseline="0"/>
            </a:lvl1pPr>
          </a:lstStyle>
          <a:p>
            <a:r>
              <a:rPr lang="de-DE" dirty="0"/>
              <a:t>Abschnittstitel durch Klicken hinzufüge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647681" y="1592263"/>
            <a:ext cx="10897561" cy="252412"/>
          </a:xfrm>
        </p:spPr>
        <p:txBody>
          <a:bodyPr/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3" name="Freihandform 2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Gleichschenkliges Dreieck 2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386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71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52022" y="5706533"/>
            <a:ext cx="10892275" cy="6029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850" b="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Disclaimer ein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023" y="1962151"/>
            <a:ext cx="10892275" cy="1723874"/>
          </a:xfrm>
        </p:spPr>
        <p:txBody>
          <a:bodyPr/>
          <a:lstStyle>
            <a:lvl1pPr algn="l">
              <a:defRPr sz="2200" baseline="0"/>
            </a:lvl1pPr>
          </a:lstStyle>
          <a:p>
            <a:r>
              <a:rPr lang="de-DE" dirty="0"/>
              <a:t>Unternehmen durch Klicken hinzufüge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872298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2023" y="3933825"/>
            <a:ext cx="10892276" cy="203133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200" b="1" cap="all" baseline="0">
                <a:solidFill>
                  <a:schemeClr val="accent3"/>
                </a:solidFill>
              </a:defRPr>
            </a:lvl1pPr>
            <a:lvl2pPr marL="182563" indent="0" algn="l">
              <a:buNone/>
              <a:defRPr sz="1000" b="1"/>
            </a:lvl2pPr>
            <a:lvl3pPr marL="357187" indent="0" algn="l">
              <a:buNone/>
              <a:defRPr sz="1000" b="1"/>
            </a:lvl3pPr>
            <a:lvl4pPr marL="539750" indent="0" algn="l">
              <a:buNone/>
              <a:defRPr sz="1000" b="1"/>
            </a:lvl4pPr>
            <a:lvl5pPr marL="714375" indent="0" algn="l">
              <a:buNone/>
              <a:defRPr sz="1000" b="1"/>
            </a:lvl5pPr>
          </a:lstStyle>
          <a:p>
            <a:pPr lvl="0"/>
            <a:r>
              <a:rPr lang="de-DE" dirty="0"/>
              <a:t>Hans-Musterman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4705804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/>
              <a:t>Adre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2023" y="4152865"/>
            <a:ext cx="10892276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buFontTx/>
              <a:buNone/>
              <a:defRPr/>
            </a:lvl2pPr>
            <a:lvl3pPr marL="357187" indent="0">
              <a:buFontTx/>
              <a:buNone/>
              <a:defRPr/>
            </a:lvl3pPr>
            <a:lvl4pPr marL="539750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5267433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 err="1"/>
              <a:t>homepage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069165" y="4700589"/>
            <a:ext cx="2370667" cy="46166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069165" y="5262564"/>
            <a:ext cx="2370667" cy="168275"/>
          </a:xfrm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 dirty="0"/>
              <a:t>E-Mail</a:t>
            </a:r>
            <a:endParaRPr lang="en-GB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-70781" y="1336076"/>
            <a:ext cx="544370" cy="3212769"/>
            <a:chOff x="-70781" y="1336076"/>
            <a:chExt cx="544370" cy="3212769"/>
          </a:xfrm>
        </p:grpSpPr>
        <p:sp>
          <p:nvSpPr>
            <p:cNvPr id="18" name="Freihandform 17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Gleichschenkliges Dreieck 18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3888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326" y="981075"/>
            <a:ext cx="10893973" cy="6111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>
              <a:lnSpc>
                <a:spcPct val="1000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326" y="1844675"/>
            <a:ext cx="10893973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70781" y="330326"/>
            <a:ext cx="544370" cy="3212769"/>
            <a:chOff x="-70781" y="1336076"/>
            <a:chExt cx="544370" cy="3212769"/>
          </a:xfrm>
        </p:grpSpPr>
        <p:sp>
          <p:nvSpPr>
            <p:cNvPr id="13" name="Freihandform 1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1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7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8" r:id="rId4"/>
    <p:sldLayoutId id="2147483674" r:id="rId5"/>
    <p:sldLayoutId id="2147483675" r:id="rId6"/>
    <p:sldLayoutId id="2147483676" r:id="rId7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000" kern="120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4150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5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gi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47682" y="5594539"/>
            <a:ext cx="10897562" cy="216919"/>
          </a:xfrm>
        </p:spPr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eile und (</a:t>
            </a:r>
            <a:r>
              <a:rPr lang="de-DE" dirty="0" err="1"/>
              <a:t>Be</a:t>
            </a:r>
            <a:r>
              <a:rPr lang="de-DE" dirty="0"/>
              <a:t>-) Herrsche </a:t>
            </a:r>
            <a:br>
              <a:rPr lang="de-DE" dirty="0"/>
            </a:br>
            <a:r>
              <a:rPr lang="de-DE" sz="2000" dirty="0">
                <a:solidFill>
                  <a:schemeClr val="tx1"/>
                </a:solidFill>
              </a:rPr>
              <a:t>Einführung in </a:t>
            </a:r>
            <a:r>
              <a:rPr lang="de-DE" sz="2000" dirty="0" err="1">
                <a:solidFill>
                  <a:schemeClr val="tx1"/>
                </a:solidFill>
              </a:rPr>
              <a:t>Bayessche</a:t>
            </a:r>
            <a:r>
              <a:rPr lang="de-DE" sz="2000" dirty="0">
                <a:solidFill>
                  <a:schemeClr val="tx1"/>
                </a:solidFill>
              </a:rPr>
              <a:t> Hierarchische Modelle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647700" y="5359401"/>
            <a:ext cx="10896600" cy="217560"/>
          </a:xfrm>
        </p:spPr>
        <p:txBody>
          <a:bodyPr/>
          <a:lstStyle/>
          <a:p>
            <a:r>
              <a:rPr lang="de-DE" dirty="0"/>
              <a:t>IFM Workshop, 28.01.2021</a:t>
            </a:r>
          </a:p>
        </p:txBody>
      </p:sp>
    </p:spTree>
    <p:extLst>
      <p:ext uri="{BB962C8B-B14F-4D97-AF65-F5344CB8AC3E}">
        <p14:creationId xmlns:p14="http://schemas.microsoft.com/office/powerpoint/2010/main" val="24101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5CE1EC-9058-4241-8B8D-48D9F0D0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Statistik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5C66C-4D49-4441-ACB7-9ECEF35F9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69" name="Abgerundetes Rechteck 68">
            <a:extLst>
              <a:ext uri="{FF2B5EF4-FFF2-40B4-BE49-F238E27FC236}">
                <a16:creationId xmlns:a16="http://schemas.microsoft.com/office/drawing/2014/main" id="{E633378E-32CE-1F4A-ADE4-89586A485342}"/>
              </a:ext>
            </a:extLst>
          </p:cNvPr>
          <p:cNvSpPr/>
          <p:nvPr/>
        </p:nvSpPr>
        <p:spPr>
          <a:xfrm>
            <a:off x="3163730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Hypothese</a:t>
            </a:r>
          </a:p>
        </p:txBody>
      </p:sp>
      <p:sp>
        <p:nvSpPr>
          <p:cNvPr id="70" name="Abgerundetes Rechteck 69">
            <a:extLst>
              <a:ext uri="{FF2B5EF4-FFF2-40B4-BE49-F238E27FC236}">
                <a16:creationId xmlns:a16="http://schemas.microsoft.com/office/drawing/2014/main" id="{A6AC9D58-5631-A54B-9C33-C607ECCD7C53}"/>
              </a:ext>
            </a:extLst>
          </p:cNvPr>
          <p:cNvSpPr/>
          <p:nvPr/>
        </p:nvSpPr>
        <p:spPr>
          <a:xfrm>
            <a:off x="7400856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xperiment (Daten)</a:t>
            </a:r>
          </a:p>
        </p:txBody>
      </p:sp>
      <p:sp>
        <p:nvSpPr>
          <p:cNvPr id="71" name="Abgerundetes Rechteck 70">
            <a:extLst>
              <a:ext uri="{FF2B5EF4-FFF2-40B4-BE49-F238E27FC236}">
                <a16:creationId xmlns:a16="http://schemas.microsoft.com/office/drawing/2014/main" id="{B3EDADA4-0B07-064B-9324-DA666B86691D}"/>
              </a:ext>
            </a:extLst>
          </p:cNvPr>
          <p:cNvSpPr/>
          <p:nvPr/>
        </p:nvSpPr>
        <p:spPr>
          <a:xfrm>
            <a:off x="9519419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Schluss-folgerung 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C526177F-749E-C446-A723-AB1D03CF60D6}"/>
              </a:ext>
            </a:extLst>
          </p:cNvPr>
          <p:cNvSpPr/>
          <p:nvPr/>
        </p:nvSpPr>
        <p:spPr>
          <a:xfrm>
            <a:off x="5282293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Vorhersage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63CE11DB-9779-6B43-8B9B-E0251B0E1552}"/>
              </a:ext>
            </a:extLst>
          </p:cNvPr>
          <p:cNvCxnSpPr>
            <a:cxnSpLocks/>
            <a:stCxn id="75" idx="3"/>
            <a:endCxn id="69" idx="1"/>
          </p:cNvCxnSpPr>
          <p:nvPr/>
        </p:nvCxnSpPr>
        <p:spPr>
          <a:xfrm>
            <a:off x="2672581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7408A29F-46E7-9249-A056-76941CFD67FF}"/>
              </a:ext>
            </a:extLst>
          </p:cNvPr>
          <p:cNvCxnSpPr>
            <a:cxnSpLocks/>
            <a:stCxn id="69" idx="3"/>
            <a:endCxn id="72" idx="1"/>
          </p:cNvCxnSpPr>
          <p:nvPr/>
        </p:nvCxnSpPr>
        <p:spPr>
          <a:xfrm>
            <a:off x="4791144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bgerundetes Rechteck 74">
            <a:extLst>
              <a:ext uri="{FF2B5EF4-FFF2-40B4-BE49-F238E27FC236}">
                <a16:creationId xmlns:a16="http://schemas.microsoft.com/office/drawing/2014/main" id="{948B1370-A6FF-3B4D-8BF5-7F1D4E8132BA}"/>
              </a:ext>
            </a:extLst>
          </p:cNvPr>
          <p:cNvSpPr/>
          <p:nvPr/>
        </p:nvSpPr>
        <p:spPr>
          <a:xfrm>
            <a:off x="1045167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Problem / Frag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EAB3D5-AA69-8C4E-8659-B6254A027534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>
            <a:off x="6909707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FC6DF20-71D5-CE49-BE8A-BCA55383689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9028270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>
            <a:extLst>
              <a:ext uri="{FF2B5EF4-FFF2-40B4-BE49-F238E27FC236}">
                <a16:creationId xmlns:a16="http://schemas.microsoft.com/office/drawing/2014/main" id="{822BEC33-5D72-5B42-BFFC-07864571A90C}"/>
              </a:ext>
            </a:extLst>
          </p:cNvPr>
          <p:cNvCxnSpPr>
            <a:cxnSpLocks/>
            <a:stCxn id="71" idx="2"/>
            <a:endCxn id="69" idx="2"/>
          </p:cNvCxnSpPr>
          <p:nvPr/>
        </p:nvCxnSpPr>
        <p:spPr>
          <a:xfrm rot="5400000">
            <a:off x="7155282" y="145489"/>
            <a:ext cx="12700" cy="6355689"/>
          </a:xfrm>
          <a:prstGeom prst="bentConnector3">
            <a:avLst>
              <a:gd name="adj1" fmla="val 2828567"/>
            </a:avLst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Controlled experiments (article) | Khan Academy">
            <a:extLst>
              <a:ext uri="{FF2B5EF4-FFF2-40B4-BE49-F238E27FC236}">
                <a16:creationId xmlns:a16="http://schemas.microsoft.com/office/drawing/2014/main" id="{55BA984D-02FF-B247-A37C-528DD9E6C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664" y="4163157"/>
            <a:ext cx="5958672" cy="219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88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86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Formulierung des wissenschaftlichen Prozesses: Der Satz von </a:t>
            </a:r>
            <a:r>
              <a:rPr lang="de-DE" dirty="0" err="1"/>
              <a:t>Bay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/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d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blipFill>
                <a:blip r:embed="rId3"/>
                <a:stretch>
                  <a:fillRect l="-1395" t="-3846" r="-2791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blipFill>
                <a:blip r:embed="rId4"/>
                <a:stretch>
                  <a:fillRect l="-1435" r="-2871" b="-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C138F2B-4D8F-374E-A7DD-11B04E7C8F65}"/>
              </a:ext>
            </a:extLst>
          </p:cNvPr>
          <p:cNvGrpSpPr/>
          <p:nvPr/>
        </p:nvGrpSpPr>
        <p:grpSpPr>
          <a:xfrm>
            <a:off x="2951991" y="2362190"/>
            <a:ext cx="1416814" cy="1801673"/>
            <a:chOff x="2951991" y="2916378"/>
            <a:chExt cx="1416814" cy="1801673"/>
          </a:xfrm>
        </p:grpSpPr>
        <p:pic>
          <p:nvPicPr>
            <p:cNvPr id="3074" name="Picture 2" descr="upload.wikimedia.org/wikipedia/commons/d/d4/Tho...">
              <a:extLst>
                <a:ext uri="{FF2B5EF4-FFF2-40B4-BE49-F238E27FC236}">
                  <a16:creationId xmlns:a16="http://schemas.microsoft.com/office/drawing/2014/main" id="{B520B86D-5846-1B49-B0F7-BCC4301AD1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1991" y="2916378"/>
              <a:ext cx="1416814" cy="1519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A8071BAE-5046-AC48-A1B3-533285E05EB2}"/>
                </a:ext>
              </a:extLst>
            </p:cNvPr>
            <p:cNvSpPr txBox="1"/>
            <p:nvPr/>
          </p:nvSpPr>
          <p:spPr>
            <a:xfrm>
              <a:off x="3238808" y="4533385"/>
              <a:ext cx="84318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1701 – 1761</a:t>
              </a:r>
              <a:endParaRPr lang="de-DE" sz="11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5ED5031-37E5-CB4E-ABB1-ADB063C0E0EA}"/>
              </a:ext>
            </a:extLst>
          </p:cNvPr>
          <p:cNvSpPr/>
          <p:nvPr/>
        </p:nvSpPr>
        <p:spPr>
          <a:xfrm>
            <a:off x="3577560" y="5079318"/>
            <a:ext cx="1856509" cy="288000"/>
          </a:xfrm>
          <a:prstGeom prst="rect">
            <a:avLst/>
          </a:prstGeom>
          <a:solidFill>
            <a:schemeClr val="accent4"/>
          </a:solidFill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Wiss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22AF1C5-A01A-3147-AE66-0F51E4C45D97}"/>
              </a:ext>
            </a:extLst>
          </p:cNvPr>
          <p:cNvSpPr/>
          <p:nvPr/>
        </p:nvSpPr>
        <p:spPr>
          <a:xfrm>
            <a:off x="6024067" y="5079318"/>
            <a:ext cx="1856509" cy="288000"/>
          </a:xfrm>
          <a:prstGeom prst="rect">
            <a:avLst/>
          </a:prstGeom>
          <a:solidFill>
            <a:schemeClr val="accent3"/>
          </a:solidFill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Beobachtun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2A21D5-997D-7447-B15A-5485013282D8}"/>
              </a:ext>
            </a:extLst>
          </p:cNvPr>
          <p:cNvSpPr/>
          <p:nvPr/>
        </p:nvSpPr>
        <p:spPr>
          <a:xfrm>
            <a:off x="8433511" y="5079318"/>
            <a:ext cx="1856509" cy="288000"/>
          </a:xfrm>
          <a:prstGeom prst="rect">
            <a:avLst/>
          </a:prstGeom>
          <a:solidFill>
            <a:schemeClr val="accent2"/>
          </a:solidFill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orwiss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32086755-2097-554C-BAD8-5033D59F97F6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4701574" y="3939287"/>
            <a:ext cx="944273" cy="133579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DDD7D37F-C7EE-A24D-ABBD-F7E065E156E3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6482654" y="4604714"/>
            <a:ext cx="944273" cy="493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>
            <a:extLst>
              <a:ext uri="{FF2B5EF4-FFF2-40B4-BE49-F238E27FC236}">
                <a16:creationId xmlns:a16="http://schemas.microsoft.com/office/drawing/2014/main" id="{0228CB58-6323-D44D-B9F9-3EBE05B15665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 rot="16200000" flipH="1">
            <a:off x="8070804" y="3788355"/>
            <a:ext cx="944273" cy="163765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1172C305-5A5D-B341-8783-AE480D2D0898}"/>
              </a:ext>
            </a:extLst>
          </p:cNvPr>
          <p:cNvSpPr/>
          <p:nvPr/>
        </p:nvSpPr>
        <p:spPr>
          <a:xfrm>
            <a:off x="5514113" y="3770698"/>
            <a:ext cx="654985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826F17-6AD0-E64B-8CD1-17DCCE177C20}"/>
              </a:ext>
            </a:extLst>
          </p:cNvPr>
          <p:cNvSpPr/>
          <p:nvPr/>
        </p:nvSpPr>
        <p:spPr>
          <a:xfrm>
            <a:off x="6641887" y="3770698"/>
            <a:ext cx="63074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F17284-DF31-1143-93B0-9D2147E33C94}"/>
              </a:ext>
            </a:extLst>
          </p:cNvPr>
          <p:cNvSpPr/>
          <p:nvPr/>
        </p:nvSpPr>
        <p:spPr>
          <a:xfrm>
            <a:off x="7512234" y="3770698"/>
            <a:ext cx="42376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725FF5F-A1C7-234F-962C-13325251439C}"/>
              </a:ext>
            </a:extLst>
          </p:cNvPr>
          <p:cNvSpPr txBox="1"/>
          <p:nvPr/>
        </p:nvSpPr>
        <p:spPr>
          <a:xfrm>
            <a:off x="9531927" y="559723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1824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osteriori Wissen ist eine Kombination von A-Priori Wissen und Beobacht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blipFill>
                <a:blip r:embed="rId3"/>
                <a:stretch>
                  <a:fillRect l="-1600" r="-2800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 33">
            <a:extLst>
              <a:ext uri="{FF2B5EF4-FFF2-40B4-BE49-F238E27FC236}">
                <a16:creationId xmlns:a16="http://schemas.microsoft.com/office/drawing/2014/main" id="{7B9D52B4-9F80-AC4C-A1D7-203EDCD32C90}"/>
              </a:ext>
            </a:extLst>
          </p:cNvPr>
          <p:cNvSpPr/>
          <p:nvPr/>
        </p:nvSpPr>
        <p:spPr>
          <a:xfrm>
            <a:off x="4522785" y="3917812"/>
            <a:ext cx="1046743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92D01C0-3BC3-7C42-9611-37B4149EEF51}"/>
              </a:ext>
            </a:extLst>
          </p:cNvPr>
          <p:cNvGrpSpPr/>
          <p:nvPr/>
        </p:nvGrpSpPr>
        <p:grpSpPr>
          <a:xfrm>
            <a:off x="918187" y="1706294"/>
            <a:ext cx="4127969" cy="2211518"/>
            <a:chOff x="918187" y="1706294"/>
            <a:chExt cx="4127969" cy="221151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462B4C6-B706-A64C-AA8B-5D77C2EEC853}"/>
                </a:ext>
              </a:extLst>
            </p:cNvPr>
            <p:cNvSpPr/>
            <p:nvPr/>
          </p:nvSpPr>
          <p:spPr>
            <a:xfrm>
              <a:off x="918187" y="1994294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, nachdem wir die Daten gesehen haben.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F2086E5-0732-8A4E-9E9C-C339ABB08FFE}"/>
                </a:ext>
              </a:extLst>
            </p:cNvPr>
            <p:cNvSpPr/>
            <p:nvPr/>
          </p:nvSpPr>
          <p:spPr>
            <a:xfrm>
              <a:off x="918187" y="1706294"/>
              <a:ext cx="1856509" cy="288000"/>
            </a:xfrm>
            <a:prstGeom prst="rect">
              <a:avLst/>
            </a:prstGeom>
            <a:solidFill>
              <a:schemeClr val="accent4"/>
            </a:solidFill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r>
                <a:rPr lang="de-DE" sz="1400" b="1" dirty="0">
                  <a:solidFill>
                    <a:schemeClr val="bg1"/>
                  </a:solidFill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4" name="Gewinkelte Verbindung 13">
              <a:extLst>
                <a:ext uri="{FF2B5EF4-FFF2-40B4-BE49-F238E27FC236}">
                  <a16:creationId xmlns:a16="http://schemas.microsoft.com/office/drawing/2014/main" id="{34F6A717-3D70-D44A-8380-5704F51ADEFA}"/>
                </a:ext>
              </a:extLst>
            </p:cNvPr>
            <p:cNvCxnSpPr>
              <a:cxnSpLocks/>
              <a:stCxn id="4" idx="2"/>
              <a:endCxn id="34" idx="0"/>
            </p:cNvCxnSpPr>
            <p:nvPr/>
          </p:nvCxnSpPr>
          <p:spPr>
            <a:xfrm rot="16200000" flipH="1">
              <a:off x="3297931" y="2169586"/>
              <a:ext cx="601536" cy="28949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C464A538-7AC9-A742-A3A1-60966FC7F54B}"/>
              </a:ext>
            </a:extLst>
          </p:cNvPr>
          <p:cNvSpPr/>
          <p:nvPr/>
        </p:nvSpPr>
        <p:spPr>
          <a:xfrm>
            <a:off x="5914443" y="3917812"/>
            <a:ext cx="1008000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773583-C56F-7847-9898-DFF923F7595E}"/>
              </a:ext>
            </a:extLst>
          </p:cNvPr>
          <p:cNvSpPr/>
          <p:nvPr/>
        </p:nvSpPr>
        <p:spPr>
          <a:xfrm>
            <a:off x="6950153" y="3917812"/>
            <a:ext cx="677222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A74CFF9-25D4-7843-9543-AA656AEC9F11}"/>
              </a:ext>
            </a:extLst>
          </p:cNvPr>
          <p:cNvGrpSpPr/>
          <p:nvPr/>
        </p:nvGrpSpPr>
        <p:grpSpPr>
          <a:xfrm>
            <a:off x="7288764" y="1701302"/>
            <a:ext cx="4204990" cy="2216510"/>
            <a:chOff x="7288764" y="1701302"/>
            <a:chExt cx="4204990" cy="221651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C23FA94-0E48-E044-8BFC-D0A204BF638F}"/>
                </a:ext>
              </a:extLst>
            </p:cNvPr>
            <p:cNvSpPr/>
            <p:nvPr/>
          </p:nvSpPr>
          <p:spPr>
            <a:xfrm>
              <a:off x="9027645" y="1991410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 (bevor wir die Daten gesehen haben).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63B08E0-516B-5649-BF17-816FAECB7EDD}"/>
                </a:ext>
              </a:extLst>
            </p:cNvPr>
            <p:cNvSpPr/>
            <p:nvPr/>
          </p:nvSpPr>
          <p:spPr>
            <a:xfrm>
              <a:off x="9027645" y="1701302"/>
              <a:ext cx="1856509" cy="288000"/>
            </a:xfrm>
            <a:prstGeom prst="rect">
              <a:avLst/>
            </a:prstGeom>
            <a:solidFill>
              <a:schemeClr val="accent2"/>
            </a:solidFill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Prior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Gewinkelte Verbindung 38">
              <a:extLst>
                <a:ext uri="{FF2B5EF4-FFF2-40B4-BE49-F238E27FC236}">
                  <a16:creationId xmlns:a16="http://schemas.microsoft.com/office/drawing/2014/main" id="{22FD6970-0E66-1745-A738-9BFBA56A73C2}"/>
                </a:ext>
              </a:extLst>
            </p:cNvPr>
            <p:cNvCxnSpPr>
              <a:cxnSpLocks/>
              <a:stCxn id="32" idx="2"/>
              <a:endCxn id="36" idx="0"/>
            </p:cNvCxnSpPr>
            <p:nvPr/>
          </p:nvCxnSpPr>
          <p:spPr>
            <a:xfrm rot="5400000">
              <a:off x="8472522" y="2129634"/>
              <a:ext cx="604420" cy="297193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322486D-F74A-BC4C-AA16-430BAF677C85}"/>
              </a:ext>
            </a:extLst>
          </p:cNvPr>
          <p:cNvGrpSpPr/>
          <p:nvPr/>
        </p:nvGrpSpPr>
        <p:grpSpPr>
          <a:xfrm>
            <a:off x="5189250" y="1703411"/>
            <a:ext cx="2466109" cy="2214400"/>
            <a:chOff x="5189250" y="1703411"/>
            <a:chExt cx="2466109" cy="22144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F16B15-DEA1-FD41-AC60-2522C60C774F}"/>
                </a:ext>
              </a:extLst>
            </p:cNvPr>
            <p:cNvSpPr/>
            <p:nvPr/>
          </p:nvSpPr>
          <p:spPr>
            <a:xfrm>
              <a:off x="5189250" y="1991411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 der beobachteten Daten, angenommen, die Hypothese sei wahr.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5A3F8DC-D0F3-9747-86F7-5D014E3AFA26}"/>
                </a:ext>
              </a:extLst>
            </p:cNvPr>
            <p:cNvSpPr/>
            <p:nvPr/>
          </p:nvSpPr>
          <p:spPr>
            <a:xfrm>
              <a:off x="5189250" y="1703411"/>
              <a:ext cx="1856509" cy="288000"/>
            </a:xfrm>
            <a:prstGeom prst="rect">
              <a:avLst/>
            </a:prstGeom>
            <a:solidFill>
              <a:schemeClr val="accent3"/>
            </a:solidFill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0" name="Gewinkelte Verbindung 39">
              <a:extLst>
                <a:ext uri="{FF2B5EF4-FFF2-40B4-BE49-F238E27FC236}">
                  <a16:creationId xmlns:a16="http://schemas.microsoft.com/office/drawing/2014/main" id="{6D6D1CE2-986E-5E46-901D-60FAFD14A854}"/>
                </a:ext>
              </a:extLst>
            </p:cNvPr>
            <p:cNvCxnSpPr>
              <a:cxnSpLocks/>
              <a:stCxn id="30" idx="2"/>
              <a:endCxn id="35" idx="0"/>
            </p:cNvCxnSpPr>
            <p:nvPr/>
          </p:nvCxnSpPr>
          <p:spPr>
            <a:xfrm rot="5400000">
              <a:off x="6118165" y="3613671"/>
              <a:ext cx="604419" cy="38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6F0AB2C1-9E12-214A-832C-1FB0CF27FF05}"/>
              </a:ext>
            </a:extLst>
          </p:cNvPr>
          <p:cNvSpPr/>
          <p:nvPr/>
        </p:nvSpPr>
        <p:spPr>
          <a:xfrm>
            <a:off x="2657250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lles wird als Verteilung dargestell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624FF17-634B-974C-8C3A-3934EF619D99}"/>
              </a:ext>
            </a:extLst>
          </p:cNvPr>
          <p:cNvSpPr/>
          <p:nvPr/>
        </p:nvSpPr>
        <p:spPr>
          <a:xfrm>
            <a:off x="6783897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Vorwissen wird </a:t>
            </a: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genutzt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C2B13AA-FB0D-C447-BC72-9E537EE060C5}"/>
              </a:ext>
            </a:extLst>
          </p:cNvPr>
          <p:cNvCxnSpPr>
            <a:cxnSpLocks/>
          </p:cNvCxnSpPr>
          <p:nvPr/>
        </p:nvCxnSpPr>
        <p:spPr>
          <a:xfrm>
            <a:off x="775855" y="4715187"/>
            <a:ext cx="10717899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1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55DC2-27ED-9D43-AE9B-DDCF96CF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7B18B1-B542-A648-9B4E-49B3B8BC1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91E375-DDC7-614F-B79A-5190337F4895}"/>
              </a:ext>
            </a:extLst>
          </p:cNvPr>
          <p:cNvGrpSpPr/>
          <p:nvPr/>
        </p:nvGrpSpPr>
        <p:grpSpPr>
          <a:xfrm>
            <a:off x="7032834" y="4436364"/>
            <a:ext cx="1188000" cy="1188000"/>
            <a:chOff x="6374836" y="4941337"/>
            <a:chExt cx="1188000" cy="1188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349526A-D4C0-FC42-B93F-B4BF88AB4FE5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/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E386FF6-EF4F-374F-9698-905A316F23DD}"/>
                </a:ext>
              </a:extLst>
            </p:cNvPr>
            <p:cNvSpPr txBox="1"/>
            <p:nvPr/>
          </p:nvSpPr>
          <p:spPr>
            <a:xfrm>
              <a:off x="6599342" y="5585727"/>
              <a:ext cx="73898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DFF5331-B4CF-9E44-AD84-DD875DE469A5}"/>
              </a:ext>
            </a:extLst>
          </p:cNvPr>
          <p:cNvGrpSpPr/>
          <p:nvPr/>
        </p:nvGrpSpPr>
        <p:grpSpPr>
          <a:xfrm>
            <a:off x="4122619" y="4436364"/>
            <a:ext cx="1188000" cy="1188000"/>
            <a:chOff x="4255091" y="4941337"/>
            <a:chExt cx="1188000" cy="118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DD95863-ED84-514D-A39E-487FB5041975}"/>
                </a:ext>
              </a:extLst>
            </p:cNvPr>
            <p:cNvSpPr/>
            <p:nvPr/>
          </p:nvSpPr>
          <p:spPr>
            <a:xfrm>
              <a:off x="4255091" y="4941337"/>
              <a:ext cx="1188000" cy="1188000"/>
            </a:xfrm>
            <a:prstGeom prst="ellipse">
              <a:avLst/>
            </a:prstGeom>
            <a:solidFill>
              <a:schemeClr val="accent3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/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BFC157A-7D24-004C-BB37-11EB71AAF810}"/>
                </a:ext>
              </a:extLst>
            </p:cNvPr>
            <p:cNvSpPr txBox="1"/>
            <p:nvPr/>
          </p:nvSpPr>
          <p:spPr>
            <a:xfrm>
              <a:off x="4414158" y="5585727"/>
              <a:ext cx="884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2EE214-9EE5-4445-B5DC-2F87BF62AD1B}"/>
              </a:ext>
            </a:extLst>
          </p:cNvPr>
          <p:cNvGrpSpPr/>
          <p:nvPr/>
        </p:nvGrpSpPr>
        <p:grpSpPr>
          <a:xfrm>
            <a:off x="1212404" y="4436364"/>
            <a:ext cx="1188000" cy="1188000"/>
            <a:chOff x="1828800" y="4941337"/>
            <a:chExt cx="1188000" cy="1188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64756E-6930-7A48-BBD3-9CB1ED2205CF}"/>
                </a:ext>
              </a:extLst>
            </p:cNvPr>
            <p:cNvSpPr/>
            <p:nvPr/>
          </p:nvSpPr>
          <p:spPr>
            <a:xfrm>
              <a:off x="1828800" y="4941337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/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  <a:blipFill>
                  <a:blip r:embed="rId5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A97F795-1F9B-2D41-8103-5CF5B0384995}"/>
                </a:ext>
              </a:extLst>
            </p:cNvPr>
            <p:cNvSpPr txBox="1"/>
            <p:nvPr/>
          </p:nvSpPr>
          <p:spPr>
            <a:xfrm>
              <a:off x="2235900" y="5585727"/>
              <a:ext cx="3751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Prior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94E8DF1-DA70-6A4B-B18F-B43B7AB59300}"/>
              </a:ext>
            </a:extLst>
          </p:cNvPr>
          <p:cNvGrpSpPr/>
          <p:nvPr/>
        </p:nvGrpSpPr>
        <p:grpSpPr>
          <a:xfrm>
            <a:off x="9943050" y="4436364"/>
            <a:ext cx="1188000" cy="1188000"/>
            <a:chOff x="6374836" y="4941337"/>
            <a:chExt cx="1188000" cy="118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6803A73-6FA0-3F47-8BE7-4FE734E1CDEE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C923DC5-C56B-8445-9B51-21B35B488468}"/>
                </a:ext>
              </a:extLst>
            </p:cNvPr>
            <p:cNvSpPr txBox="1"/>
            <p:nvPr/>
          </p:nvSpPr>
          <p:spPr>
            <a:xfrm>
              <a:off x="6609078" y="5322490"/>
              <a:ext cx="7245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Rück-</a:t>
              </a:r>
              <a:br>
                <a:rPr lang="de-DE" sz="1400" b="1" dirty="0">
                  <a:solidFill>
                    <a:schemeClr val="bg1"/>
                  </a:solidFill>
                </a:rPr>
              </a:br>
              <a:r>
                <a:rPr lang="de-DE" sz="1400" b="1" dirty="0" err="1">
                  <a:solidFill>
                    <a:schemeClr val="bg1"/>
                  </a:solidFill>
                </a:rPr>
                <a:t>schlüsse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D559485-E99D-8B4D-A187-5E0BC036CA5B}"/>
              </a:ext>
            </a:extLst>
          </p:cNvPr>
          <p:cNvCxnSpPr>
            <a:stCxn id="14" idx="6"/>
            <a:endCxn id="10" idx="2"/>
          </p:cNvCxnSpPr>
          <p:nvPr/>
        </p:nvCxnSpPr>
        <p:spPr>
          <a:xfrm>
            <a:off x="2400404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5F271E2-B7FA-234A-86BC-8C78FC05B085}"/>
              </a:ext>
            </a:extLst>
          </p:cNvPr>
          <p:cNvCxnSpPr>
            <a:cxnSpLocks/>
            <a:stCxn id="10" idx="6"/>
            <a:endCxn id="6" idx="2"/>
          </p:cNvCxnSpPr>
          <p:nvPr/>
        </p:nvCxnSpPr>
        <p:spPr>
          <a:xfrm>
            <a:off x="5310619" y="5030364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53E031B-128B-CD4C-89FD-C301F0577D62}"/>
              </a:ext>
            </a:extLst>
          </p:cNvPr>
          <p:cNvCxnSpPr>
            <a:cxnSpLocks/>
            <a:stCxn id="6" idx="6"/>
            <a:endCxn id="18" idx="2"/>
          </p:cNvCxnSpPr>
          <p:nvPr/>
        </p:nvCxnSpPr>
        <p:spPr>
          <a:xfrm>
            <a:off x="8220834" y="5030364"/>
            <a:ext cx="1722216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4E11E278-52B4-5249-A96B-F32C61E40897}"/>
              </a:ext>
            </a:extLst>
          </p:cNvPr>
          <p:cNvCxnSpPr>
            <a:cxnSpLocks/>
            <a:stCxn id="18" idx="4"/>
            <a:endCxn id="14" idx="4"/>
          </p:cNvCxnSpPr>
          <p:nvPr/>
        </p:nvCxnSpPr>
        <p:spPr>
          <a:xfrm rot="5400000">
            <a:off x="6171727" y="1259041"/>
            <a:ext cx="12700" cy="8730646"/>
          </a:xfrm>
          <a:prstGeom prst="bentConnector3">
            <a:avLst>
              <a:gd name="adj1" fmla="val 2890913"/>
            </a:avLst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E135DCA-EADD-8D4E-9013-E4E4CD5BD28F}"/>
              </a:ext>
            </a:extLst>
          </p:cNvPr>
          <p:cNvSpPr txBox="1"/>
          <p:nvPr/>
        </p:nvSpPr>
        <p:spPr>
          <a:xfrm>
            <a:off x="4596782" y="6054766"/>
            <a:ext cx="31499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/>
              <a:t>Bayesian</a:t>
            </a:r>
            <a:r>
              <a:rPr lang="de-DE" sz="1600" dirty="0"/>
              <a:t> </a:t>
            </a:r>
            <a:r>
              <a:rPr lang="de-DE" sz="1600" dirty="0" err="1"/>
              <a:t>Updating</a:t>
            </a:r>
            <a:r>
              <a:rPr lang="de-DE" sz="1600" dirty="0"/>
              <a:t> (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believes</a:t>
            </a:r>
            <a:r>
              <a:rPr lang="de-DE" sz="1600" dirty="0"/>
              <a:t>)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34CDD76-53A6-F64F-B13E-516EB8AF5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724" y="1816349"/>
            <a:ext cx="2240779" cy="15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CFC7C35E-B585-8A47-B092-AF3AE3132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8" y="1828998"/>
            <a:ext cx="2319591" cy="150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/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  <m:rad>
                            <m:radPr>
                              <m:degHide m:val="on"/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num>
                                    <m:den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sz="1200" dirty="0"/>
              </a:p>
            </p:txBody>
          </p:sp>
        </mc:Choice>
        <mc:Fallback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8320" y="3575347"/>
                <a:ext cx="2087687" cy="460960"/>
              </a:xfrm>
              <a:prstGeom prst="rect">
                <a:avLst/>
              </a:prstGeom>
              <a:blipFill>
                <a:blip r:embed="rId8"/>
                <a:stretch>
                  <a:fillRect b="-108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/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)→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170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30)</m:t>
                      </m:r>
                    </m:oMath>
                  </m:oMathPara>
                </a14:m>
                <a:endParaRPr sz="1200" dirty="0"/>
              </a:p>
            </p:txBody>
          </p:sp>
        </mc:Choice>
        <mc:Fallback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867" y="3677495"/>
                <a:ext cx="1823191" cy="215444"/>
              </a:xfrm>
              <a:prstGeom prst="rect">
                <a:avLst/>
              </a:prstGeom>
              <a:blipFill>
                <a:blip r:embed="rId9"/>
                <a:stretch>
                  <a:fillRect l="-1379" t="-5556" r="-2759" b="-3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00" name="Picture 4">
            <a:extLst>
              <a:ext uri="{FF2B5EF4-FFF2-40B4-BE49-F238E27FC236}">
                <a16:creationId xmlns:a16="http://schemas.microsoft.com/office/drawing/2014/main" id="{E8771A2C-6951-9D4B-9CF9-4FB327EE1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307" y="1742915"/>
            <a:ext cx="2411486" cy="162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/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e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de-DE" sz="1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0919" y="3657465"/>
                <a:ext cx="2123017" cy="307777"/>
              </a:xfrm>
              <a:prstGeom prst="rect">
                <a:avLst/>
              </a:prstGeom>
              <a:blipFill>
                <a:blip r:embed="rId11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Grafik 29">
            <a:extLst>
              <a:ext uri="{FF2B5EF4-FFF2-40B4-BE49-F238E27FC236}">
                <a16:creationId xmlns:a16="http://schemas.microsoft.com/office/drawing/2014/main" id="{7168DE69-CFDE-5E4B-B5CA-B9F8E7530A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31585" y="1769278"/>
            <a:ext cx="2112639" cy="73696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34EC76D-EFE3-7D43-979B-B797EB6F73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55678" y="2563159"/>
            <a:ext cx="2240779" cy="7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1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63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te </a:t>
            </a:r>
            <a:r>
              <a:rPr lang="de-DE" dirty="0" err="1"/>
              <a:t>Bayessche</a:t>
            </a:r>
            <a:r>
              <a:rPr lang="de-DE" dirty="0"/>
              <a:t> Modellierung mit Pymc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DAA225-DCFB-A042-B41F-B20C6866D478}"/>
              </a:ext>
            </a:extLst>
          </p:cNvPr>
          <p:cNvSpPr/>
          <p:nvPr/>
        </p:nvSpPr>
        <p:spPr>
          <a:xfrm>
            <a:off x="1717133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D5E82D5-9B95-E743-BE52-5C2DE7D66CF3}"/>
              </a:ext>
            </a:extLst>
          </p:cNvPr>
          <p:cNvSpPr txBox="1"/>
          <p:nvPr/>
        </p:nvSpPr>
        <p:spPr>
          <a:xfrm>
            <a:off x="1814051" y="4599315"/>
            <a:ext cx="127759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Spezifikation </a:t>
            </a:r>
          </a:p>
          <a:p>
            <a:pPr algn="ctr"/>
            <a:r>
              <a:rPr lang="de-DE" sz="1600" dirty="0">
                <a:solidFill>
                  <a:schemeClr val="accent2"/>
                </a:solidFill>
              </a:rPr>
              <a:t>des Model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BD862F-D94D-7E44-9980-CDBA26F479C3}"/>
              </a:ext>
            </a:extLst>
          </p:cNvPr>
          <p:cNvSpPr/>
          <p:nvPr/>
        </p:nvSpPr>
        <p:spPr>
          <a:xfrm>
            <a:off x="5197156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5E3D0E-D995-A049-8251-647A4FD81819}"/>
              </a:ext>
            </a:extLst>
          </p:cNvPr>
          <p:cNvSpPr txBox="1"/>
          <p:nvPr/>
        </p:nvSpPr>
        <p:spPr>
          <a:xfrm>
            <a:off x="5349051" y="4613170"/>
            <a:ext cx="111408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3"/>
                </a:solidFill>
              </a:rPr>
              <a:t>„</a:t>
            </a:r>
            <a:r>
              <a:rPr lang="de-DE" sz="1600" dirty="0" err="1">
                <a:solidFill>
                  <a:schemeClr val="accent3"/>
                </a:solidFill>
              </a:rPr>
              <a:t>Inference</a:t>
            </a:r>
            <a:r>
              <a:rPr lang="de-DE" sz="1600" dirty="0">
                <a:solidFill>
                  <a:schemeClr val="accent3"/>
                </a:solidFill>
              </a:rPr>
              <a:t> </a:t>
            </a:r>
            <a:br>
              <a:rPr lang="de-DE" sz="1600" dirty="0">
                <a:solidFill>
                  <a:schemeClr val="accent3"/>
                </a:solidFill>
              </a:rPr>
            </a:br>
            <a:r>
              <a:rPr lang="de-DE" sz="1600" dirty="0">
                <a:solidFill>
                  <a:schemeClr val="accent3"/>
                </a:solidFill>
              </a:rPr>
              <a:t>Button“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FEC4E61-D8D0-C245-8A8C-5AC2A86C674F}"/>
              </a:ext>
            </a:extLst>
          </p:cNvPr>
          <p:cNvSpPr/>
          <p:nvPr/>
        </p:nvSpPr>
        <p:spPr>
          <a:xfrm>
            <a:off x="8845475" y="3353022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75B837C-6AAC-C24E-B4A5-14B4D624AA84}"/>
              </a:ext>
            </a:extLst>
          </p:cNvPr>
          <p:cNvSpPr txBox="1"/>
          <p:nvPr/>
        </p:nvSpPr>
        <p:spPr>
          <a:xfrm>
            <a:off x="8891749" y="3624492"/>
            <a:ext cx="8351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4"/>
                </a:solidFill>
              </a:rPr>
              <a:t>Parameter </a:t>
            </a:r>
          </a:p>
          <a:p>
            <a:pPr algn="ctr"/>
            <a:r>
              <a:rPr lang="de-DE" sz="1200" dirty="0">
                <a:solidFill>
                  <a:schemeClr val="accent4"/>
                </a:solidFill>
              </a:rPr>
              <a:t>Inferen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36AF5E6-461B-6146-AD67-D37591281FDA}"/>
              </a:ext>
            </a:extLst>
          </p:cNvPr>
          <p:cNvSpPr/>
          <p:nvPr/>
        </p:nvSpPr>
        <p:spPr>
          <a:xfrm>
            <a:off x="8845475" y="4407789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E7B4E65-55EB-694C-ADE9-1A383DC3AFCA}"/>
              </a:ext>
            </a:extLst>
          </p:cNvPr>
          <p:cNvSpPr txBox="1"/>
          <p:nvPr/>
        </p:nvSpPr>
        <p:spPr>
          <a:xfrm>
            <a:off x="8889372" y="4639626"/>
            <a:ext cx="8111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osterior</a:t>
            </a:r>
            <a:r>
              <a:rPr lang="de-DE" sz="1200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redictions</a:t>
            </a:r>
            <a:endParaRPr lang="de-DE" sz="1200" dirty="0">
              <a:solidFill>
                <a:schemeClr val="accent4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34F364F-174C-8544-AEF7-6F20644E7369}"/>
              </a:ext>
            </a:extLst>
          </p:cNvPr>
          <p:cNvSpPr/>
          <p:nvPr/>
        </p:nvSpPr>
        <p:spPr>
          <a:xfrm>
            <a:off x="8832294" y="5462556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6B32CE9-0285-164D-A655-96F6E067F3A3}"/>
              </a:ext>
            </a:extLst>
          </p:cNvPr>
          <p:cNvSpPr txBox="1"/>
          <p:nvPr/>
        </p:nvSpPr>
        <p:spPr>
          <a:xfrm>
            <a:off x="9192527" y="5789445"/>
            <a:ext cx="179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4"/>
                </a:solidFill>
              </a:rPr>
              <a:t>…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C297568-AA2E-E442-8D20-0EECFA43AA38}"/>
              </a:ext>
            </a:extLst>
          </p:cNvPr>
          <p:cNvCxnSpPr>
            <a:cxnSpLocks/>
            <a:stCxn id="6" idx="6"/>
            <a:endCxn id="9" idx="2"/>
          </p:cNvCxnSpPr>
          <p:nvPr/>
        </p:nvCxnSpPr>
        <p:spPr>
          <a:xfrm>
            <a:off x="3157133" y="4846387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krümmte Verbindung 23">
            <a:extLst>
              <a:ext uri="{FF2B5EF4-FFF2-40B4-BE49-F238E27FC236}">
                <a16:creationId xmlns:a16="http://schemas.microsoft.com/office/drawing/2014/main" id="{CFE6B074-5371-7F41-BFF0-157E18C97E3C}"/>
              </a:ext>
            </a:extLst>
          </p:cNvPr>
          <p:cNvCxnSpPr>
            <a:cxnSpLocks/>
            <a:stCxn id="9" idx="7"/>
            <a:endCxn id="12" idx="2"/>
          </p:cNvCxnSpPr>
          <p:nvPr/>
        </p:nvCxnSpPr>
        <p:spPr>
          <a:xfrm rot="5400000" flipH="1" flipV="1">
            <a:off x="7368750" y="2860545"/>
            <a:ext cx="534248" cy="2419202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>
            <a:extLst>
              <a:ext uri="{FF2B5EF4-FFF2-40B4-BE49-F238E27FC236}">
                <a16:creationId xmlns:a16="http://schemas.microsoft.com/office/drawing/2014/main" id="{3667F2E1-BF64-6541-B029-17DBB05F04B9}"/>
              </a:ext>
            </a:extLst>
          </p:cNvPr>
          <p:cNvCxnSpPr>
            <a:cxnSpLocks/>
            <a:stCxn id="9" idx="5"/>
            <a:endCxn id="18" idx="2"/>
          </p:cNvCxnSpPr>
          <p:nvPr/>
        </p:nvCxnSpPr>
        <p:spPr>
          <a:xfrm rot="16200000" flipH="1">
            <a:off x="7350757" y="4431019"/>
            <a:ext cx="557052" cy="2406021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25DA6A-08C5-074F-AA70-7A780FD52D02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6637156" y="4846387"/>
            <a:ext cx="2208319" cy="11402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ingebuchteter Richtungspfeil 26">
            <a:extLst>
              <a:ext uri="{FF2B5EF4-FFF2-40B4-BE49-F238E27FC236}">
                <a16:creationId xmlns:a16="http://schemas.microsoft.com/office/drawing/2014/main" id="{734EEB4F-A091-1D4F-8BD5-A5BCD0E8E9ED}"/>
              </a:ext>
            </a:extLst>
          </p:cNvPr>
          <p:cNvSpPr/>
          <p:nvPr/>
        </p:nvSpPr>
        <p:spPr>
          <a:xfrm>
            <a:off x="969815" y="2576961"/>
            <a:ext cx="3061855" cy="533534"/>
          </a:xfrm>
          <a:prstGeom prst="chevron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1. Schritt</a:t>
            </a:r>
          </a:p>
        </p:txBody>
      </p:sp>
      <p:sp>
        <p:nvSpPr>
          <p:cNvPr id="28" name="Eingebuchteter Richtungspfeil 27">
            <a:extLst>
              <a:ext uri="{FF2B5EF4-FFF2-40B4-BE49-F238E27FC236}">
                <a16:creationId xmlns:a16="http://schemas.microsoft.com/office/drawing/2014/main" id="{8D7C07C4-C730-EA4A-9AA7-E33345A495EA}"/>
              </a:ext>
            </a:extLst>
          </p:cNvPr>
          <p:cNvSpPr/>
          <p:nvPr/>
        </p:nvSpPr>
        <p:spPr>
          <a:xfrm>
            <a:off x="4401930" y="2576961"/>
            <a:ext cx="3061855" cy="533534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2. Schritt</a:t>
            </a:r>
          </a:p>
        </p:txBody>
      </p:sp>
      <p:sp>
        <p:nvSpPr>
          <p:cNvPr id="29" name="Eingebuchteter Richtungspfeil 28">
            <a:extLst>
              <a:ext uri="{FF2B5EF4-FFF2-40B4-BE49-F238E27FC236}">
                <a16:creationId xmlns:a16="http://schemas.microsoft.com/office/drawing/2014/main" id="{25697061-026F-7346-A7BC-CD0E96F35328}"/>
              </a:ext>
            </a:extLst>
          </p:cNvPr>
          <p:cNvSpPr/>
          <p:nvPr/>
        </p:nvSpPr>
        <p:spPr>
          <a:xfrm>
            <a:off x="7769946" y="2576961"/>
            <a:ext cx="3061855" cy="533534"/>
          </a:xfrm>
          <a:prstGeom prst="chevron">
            <a:avLst/>
          </a:prstGeom>
          <a:solidFill>
            <a:schemeClr val="accent4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3. Schritt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E7D24D5-7406-3441-951A-978D833A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5" b="20937"/>
          <a:stretch/>
        </p:blipFill>
        <p:spPr bwMode="auto">
          <a:xfrm>
            <a:off x="802607" y="1511441"/>
            <a:ext cx="2289038" cy="74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6C16342A-D676-B940-99D5-DEC447D8E792}"/>
              </a:ext>
            </a:extLst>
          </p:cNvPr>
          <p:cNvSpPr txBox="1"/>
          <p:nvPr/>
        </p:nvSpPr>
        <p:spPr>
          <a:xfrm>
            <a:off x="3883909" y="1759595"/>
            <a:ext cx="28309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Leicht zu bedienende API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E298CA1-48C3-BC45-B635-0FF29F18D8FA}"/>
              </a:ext>
            </a:extLst>
          </p:cNvPr>
          <p:cNvSpPr txBox="1"/>
          <p:nvPr/>
        </p:nvSpPr>
        <p:spPr>
          <a:xfrm>
            <a:off x="7463785" y="1758835"/>
            <a:ext cx="32108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tarkes Backend für Sampling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D8B5A873-05FD-6342-89FA-9930A0A913F9}"/>
              </a:ext>
            </a:extLst>
          </p:cNvPr>
          <p:cNvCxnSpPr>
            <a:cxnSpLocks/>
          </p:cNvCxnSpPr>
          <p:nvPr/>
        </p:nvCxnSpPr>
        <p:spPr>
          <a:xfrm>
            <a:off x="650326" y="2363288"/>
            <a:ext cx="10751965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28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/>
      <p:bldP spid="12" grpId="0" animBg="1"/>
      <p:bldP spid="13" grpId="0"/>
      <p:bldP spid="16" grpId="0" animBg="1"/>
      <p:bldP spid="17" grpId="0"/>
      <p:bldP spid="18" grpId="0" animBg="1"/>
      <p:bldP spid="19" grpId="0"/>
      <p:bldP spid="27" grpId="0" animBg="1"/>
      <p:bldP spid="28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F4BA75-E381-DD43-A8B7-3716287DC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de-DE" dirty="0"/>
              <a:t>Praxi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DB24FC-9A79-8143-A6DA-9F0F003DAE8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36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1D2E5F-6D34-C343-B8B3-0AF33E97D554}"/>
              </a:ext>
            </a:extLst>
          </p:cNvPr>
          <p:cNvSpPr/>
          <p:nvPr/>
        </p:nvSpPr>
        <p:spPr>
          <a:xfrm>
            <a:off x="0" y="0"/>
            <a:ext cx="4719782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GENDA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57A1A5-7E80-5243-84C1-E445D323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7020" y="1967345"/>
            <a:ext cx="6431598" cy="292330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1. Theori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 err="1"/>
              <a:t>Machine</a:t>
            </a:r>
            <a:r>
              <a:rPr lang="de-DE" dirty="0"/>
              <a:t> Learning vs. Statistische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  <a:p>
            <a:pPr>
              <a:buAutoNum type="romanLcPeriod"/>
            </a:pPr>
            <a:endParaRPr lang="de-DE" dirty="0"/>
          </a:p>
          <a:p>
            <a:pPr marL="0" indent="0">
              <a:buNone/>
            </a:pPr>
            <a:r>
              <a:rPr lang="de-DE" dirty="0"/>
              <a:t>2. Praxis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Unsicherheit beherrschen: </a:t>
            </a:r>
            <a:r>
              <a:rPr lang="de-DE" dirty="0" err="1"/>
              <a:t>Bayessche</a:t>
            </a:r>
            <a:r>
              <a:rPr lang="de-DE" dirty="0"/>
              <a:t> Lineare Modell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Informationen teilen: </a:t>
            </a:r>
            <a:r>
              <a:rPr lang="de-DE" dirty="0" err="1"/>
              <a:t>Bayessche</a:t>
            </a:r>
            <a:r>
              <a:rPr lang="de-DE" dirty="0"/>
              <a:t> Hierarchische Modelle</a:t>
            </a:r>
          </a:p>
        </p:txBody>
      </p:sp>
    </p:spTree>
    <p:extLst>
      <p:ext uri="{BB962C8B-B14F-4D97-AF65-F5344CB8AC3E}">
        <p14:creationId xmlns:p14="http://schemas.microsoft.com/office/powerpoint/2010/main" val="3232026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477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Hintergründe bestimmen Weltbild und Herangehensweis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C0E6091-85AC-7A4F-A937-93569910C300}"/>
              </a:ext>
            </a:extLst>
          </p:cNvPr>
          <p:cNvSpPr txBox="1"/>
          <p:nvPr/>
        </p:nvSpPr>
        <p:spPr>
          <a:xfrm>
            <a:off x="1394147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pic>
        <p:nvPicPr>
          <p:cNvPr id="14" name="Picture 2" descr="Computer Programmer - Jakobb Dee's Digital Portfolio">
            <a:extLst>
              <a:ext uri="{FF2B5EF4-FFF2-40B4-BE49-F238E27FC236}">
                <a16:creationId xmlns:a16="http://schemas.microsoft.com/office/drawing/2014/main" id="{F927B4B1-36FD-FB4F-AA8E-6A7984557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9A2D14-EF9C-5543-BD3A-C30919141438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19" name="Picture 2" descr="A simple sketch a scientist Royalty Free Vector Image">
            <a:extLst>
              <a:ext uri="{FF2B5EF4-FFF2-40B4-BE49-F238E27FC236}">
                <a16:creationId xmlns:a16="http://schemas.microsoft.com/office/drawing/2014/main" id="{77486FF5-9268-AC42-8452-22B26F9DF4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ata science without programming - The Data Scientist">
            <a:extLst>
              <a:ext uri="{FF2B5EF4-FFF2-40B4-BE49-F238E27FC236}">
                <a16:creationId xmlns:a16="http://schemas.microsoft.com/office/drawing/2014/main" id="{A44C0961-C0AB-684C-BA10-DA500897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747" y="2080000"/>
            <a:ext cx="3906506" cy="360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0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DF79E89-0214-9F43-AC29-E99F44C1FCCD}"/>
              </a:ext>
            </a:extLst>
          </p:cNvPr>
          <p:cNvSpPr/>
          <p:nvPr/>
        </p:nvSpPr>
        <p:spPr>
          <a:xfrm>
            <a:off x="6108995" y="2111481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4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20" grpId="0"/>
      <p:bldP spid="22" grpId="0"/>
      <p:bldP spid="29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F1B82DBB-568B-F342-8717-C42365A6065A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55C41A8-E916-0C4F-AF47-BFCAD60F9408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38356D5-C632-BF4C-B4A4-FD92232013F8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853D6C17-FFA1-8A4A-A091-04EA92E7DDB9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1D289-FB94-9344-AB5D-132F196EF8B9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52" name="Pfeil nach rechts 51">
            <a:extLst>
              <a:ext uri="{FF2B5EF4-FFF2-40B4-BE49-F238E27FC236}">
                <a16:creationId xmlns:a16="http://schemas.microsoft.com/office/drawing/2014/main" id="{0A2227B9-459F-C24B-AE34-9CC0DACF4207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878647-719E-2148-B7B8-11C959D713CE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</p:spTree>
    <p:extLst>
      <p:ext uri="{BB962C8B-B14F-4D97-AF65-F5344CB8AC3E}">
        <p14:creationId xmlns:p14="http://schemas.microsoft.com/office/powerpoint/2010/main" val="954372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50" grpId="0"/>
      <p:bldP spid="51" grpId="0"/>
      <p:bldP spid="52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Modellierung nach Informatiker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2" name="Eingebuchteter Richtungspfeil 1">
            <a:extLst>
              <a:ext uri="{FF2B5EF4-FFF2-40B4-BE49-F238E27FC236}">
                <a16:creationId xmlns:a16="http://schemas.microsoft.com/office/drawing/2014/main" id="{36C55C33-49BE-B944-9128-8C51BB13A5F9}"/>
              </a:ext>
            </a:extLst>
          </p:cNvPr>
          <p:cNvSpPr/>
          <p:nvPr/>
        </p:nvSpPr>
        <p:spPr>
          <a:xfrm>
            <a:off x="1371603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Collect</a:t>
            </a:r>
            <a:r>
              <a:rPr lang="de-DE" sz="1600" dirty="0">
                <a:solidFill>
                  <a:schemeClr val="bg2"/>
                </a:solidFill>
              </a:rPr>
              <a:t> Data</a:t>
            </a:r>
          </a:p>
        </p:txBody>
      </p: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0D2F0258-3604-1647-BBC2-C848A7D60886}"/>
              </a:ext>
            </a:extLst>
          </p:cNvPr>
          <p:cNvSpPr/>
          <p:nvPr/>
        </p:nvSpPr>
        <p:spPr>
          <a:xfrm>
            <a:off x="3626712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ngineer Features</a:t>
            </a:r>
          </a:p>
        </p:txBody>
      </p:sp>
      <p:sp>
        <p:nvSpPr>
          <p:cNvPr id="32" name="Eingebuchteter Richtungspfeil 31">
            <a:extLst>
              <a:ext uri="{FF2B5EF4-FFF2-40B4-BE49-F238E27FC236}">
                <a16:creationId xmlns:a16="http://schemas.microsoft.com/office/drawing/2014/main" id="{4BEC3D7B-D74F-214C-8DEF-7CD6D14B5762}"/>
              </a:ext>
            </a:extLst>
          </p:cNvPr>
          <p:cNvSpPr/>
          <p:nvPr/>
        </p:nvSpPr>
        <p:spPr>
          <a:xfrm>
            <a:off x="5881820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Build</a:t>
            </a:r>
            <a:r>
              <a:rPr lang="de-DE" sz="1600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bg2"/>
                </a:solidFill>
              </a:rPr>
              <a:t>Model</a:t>
            </a:r>
          </a:p>
        </p:txBody>
      </p:sp>
      <p:sp>
        <p:nvSpPr>
          <p:cNvPr id="33" name="Eingebuchteter Richtungspfeil 32">
            <a:extLst>
              <a:ext uri="{FF2B5EF4-FFF2-40B4-BE49-F238E27FC236}">
                <a16:creationId xmlns:a16="http://schemas.microsoft.com/office/drawing/2014/main" id="{63F85F6A-29E5-1D4E-B744-B9B0E6F97A81}"/>
              </a:ext>
            </a:extLst>
          </p:cNvPr>
          <p:cNvSpPr/>
          <p:nvPr/>
        </p:nvSpPr>
        <p:spPr>
          <a:xfrm>
            <a:off x="8136928" y="2581980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Evaluate</a:t>
            </a:r>
            <a:r>
              <a:rPr lang="de-DE" sz="1600" dirty="0">
                <a:solidFill>
                  <a:schemeClr val="bg2"/>
                </a:solidFill>
              </a:rPr>
              <a:t> Model</a:t>
            </a:r>
          </a:p>
        </p:txBody>
      </p:sp>
      <p:pic>
        <p:nvPicPr>
          <p:cNvPr id="4098" name="Picture 2" descr="The Artificial Neural Networks handbook: Part 1 | by Jayesh Bapu Ahire |  Coinmonks | Medium">
            <a:extLst>
              <a:ext uri="{FF2B5EF4-FFF2-40B4-BE49-F238E27FC236}">
                <a16:creationId xmlns:a16="http://schemas.microsoft.com/office/drawing/2014/main" id="{CABCD31A-3617-E345-86AC-D2A48485C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132" y="3984295"/>
            <a:ext cx="2027633" cy="171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chflex Turns Idle Computing Power Into an Incentivized Network – News  Bitcoin News">
            <a:extLst>
              <a:ext uri="{FF2B5EF4-FFF2-40B4-BE49-F238E27FC236}">
                <a16:creationId xmlns:a16="http://schemas.microsoft.com/office/drawing/2014/main" id="{B862097E-F2E6-D14B-9F3E-12CA521B8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12" y="4101139"/>
            <a:ext cx="1974416" cy="148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3888F335-41F1-0245-ADD2-9D25F0DD3B44}"/>
              </a:ext>
            </a:extLst>
          </p:cNvPr>
          <p:cNvSpPr/>
          <p:nvPr/>
        </p:nvSpPr>
        <p:spPr>
          <a:xfrm rot="16200000">
            <a:off x="5652616" y="-2140713"/>
            <a:ext cx="391327" cy="8953353"/>
          </a:xfrm>
          <a:prstGeom prst="rightBrace">
            <a:avLst>
              <a:gd name="adj1" fmla="val 8333"/>
              <a:gd name="adj2" fmla="val 50337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9AA2C9-2FDA-0F45-A845-81A80EB860DE}"/>
              </a:ext>
            </a:extLst>
          </p:cNvPr>
          <p:cNvSpPr txBox="1"/>
          <p:nvPr/>
        </p:nvSpPr>
        <p:spPr>
          <a:xfrm>
            <a:off x="5237041" y="1873906"/>
            <a:ext cx="13096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Automatisiert</a:t>
            </a:r>
          </a:p>
        </p:txBody>
      </p:sp>
    </p:spTree>
    <p:extLst>
      <p:ext uri="{BB962C8B-B14F-4D97-AF65-F5344CB8AC3E}">
        <p14:creationId xmlns:p14="http://schemas.microsoft.com/office/powerpoint/2010/main" val="71079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2" grpId="0" animBg="1"/>
      <p:bldP spid="33" grpId="0" animBg="1"/>
      <p:bldP spid="3" grpId="0" animBg="1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0EB82EA-7BCF-C344-8787-5DF535A29260}"/>
              </a:ext>
            </a:extLst>
          </p:cNvPr>
          <p:cNvSpPr txBox="1"/>
          <p:nvPr/>
        </p:nvSpPr>
        <p:spPr>
          <a:xfrm>
            <a:off x="6229292" y="5127735"/>
            <a:ext cx="16398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b="1" dirty="0"/>
              <a:t>Strebt nach Erkenntni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AEB49DD-D629-2442-8C01-FAE6DDBBF755}"/>
              </a:ext>
            </a:extLst>
          </p:cNvPr>
          <p:cNvSpPr txBox="1"/>
          <p:nvPr/>
        </p:nvSpPr>
        <p:spPr>
          <a:xfrm>
            <a:off x="6229292" y="3481617"/>
            <a:ext cx="18739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Sorgt sich um Annahm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C5C089B-5982-5F48-8252-A22723EE5C85}"/>
              </a:ext>
            </a:extLst>
          </p:cNvPr>
          <p:cNvSpPr txBox="1"/>
          <p:nvPr/>
        </p:nvSpPr>
        <p:spPr>
          <a:xfrm>
            <a:off x="6229292" y="3893861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Prüft asymptotisches Verhal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0AD2540-D7FD-7C42-ACF2-35F948C46FBC}"/>
              </a:ext>
            </a:extLst>
          </p:cNvPr>
          <p:cNvSpPr txBox="1"/>
          <p:nvPr/>
        </p:nvSpPr>
        <p:spPr>
          <a:xfrm>
            <a:off x="6229292" y="4306105"/>
            <a:ext cx="20342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Verwendet lineare Model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8BE7B4-EF32-5141-914A-5B15A0FF8F69}"/>
              </a:ext>
            </a:extLst>
          </p:cNvPr>
          <p:cNvSpPr txBox="1"/>
          <p:nvPr/>
        </p:nvSpPr>
        <p:spPr>
          <a:xfrm>
            <a:off x="6229292" y="4716920"/>
            <a:ext cx="18883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Modelle sind verständ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4E62702-4E72-A748-8E64-C197D2620823}"/>
              </a:ext>
            </a:extLst>
          </p:cNvPr>
          <p:cNvSpPr txBox="1"/>
          <p:nvPr/>
        </p:nvSpPr>
        <p:spPr>
          <a:xfrm>
            <a:off x="6229292" y="2656276"/>
            <a:ext cx="9698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Verwendet 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0C0AE6-ED49-BD49-9B81-8329430ED478}"/>
              </a:ext>
            </a:extLst>
          </p:cNvPr>
          <p:cNvSpPr txBox="1"/>
          <p:nvPr/>
        </p:nvSpPr>
        <p:spPr>
          <a:xfrm>
            <a:off x="6235035" y="3067129"/>
            <a:ext cx="2353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Große Datensätze sind Proble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277DE8A-174E-824A-B13C-6C7C9A862003}"/>
              </a:ext>
            </a:extLst>
          </p:cNvPr>
          <p:cNvSpPr/>
          <p:nvPr/>
        </p:nvSpPr>
        <p:spPr>
          <a:xfrm>
            <a:off x="4182821" y="2111067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</p:spTree>
    <p:extLst>
      <p:ext uri="{BB962C8B-B14F-4D97-AF65-F5344CB8AC3E}">
        <p14:creationId xmlns:p14="http://schemas.microsoft.com/office/powerpoint/2010/main" val="152159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1" grpId="0"/>
      <p:bldP spid="23" grpId="0"/>
      <p:bldP spid="28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ngehensweise bei der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976DA318-67C3-EB4D-8664-5CB60C1F0CE7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7F48187-D013-1444-8E40-2A752201825B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DB3884-FC12-A943-BA88-0B2E85D81C24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C4D930C1-53B5-E440-B540-A98269DF4698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61F26D-67C6-BF46-9BCA-FE54074253EF}"/>
              </a:ext>
            </a:extLst>
          </p:cNvPr>
          <p:cNvSpPr txBox="1"/>
          <p:nvPr/>
        </p:nvSpPr>
        <p:spPr>
          <a:xfrm>
            <a:off x="6229292" y="4207817"/>
            <a:ext cx="127919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/>
              <a:t>Wenige Daten</a:t>
            </a:r>
          </a:p>
          <a:p>
            <a:r>
              <a:rPr lang="de-DE" sz="1400" dirty="0"/>
              <a:t>Kleine Modell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ECB09F8-B07A-0E44-A65C-05A7D907F195}"/>
              </a:ext>
            </a:extLst>
          </p:cNvPr>
          <p:cNvCxnSpPr/>
          <p:nvPr/>
        </p:nvCxnSpPr>
        <p:spPr>
          <a:xfrm>
            <a:off x="6326649" y="311739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C3C2619A-4B86-7648-93BF-AB0FDF157FB1}"/>
              </a:ext>
            </a:extLst>
          </p:cNvPr>
          <p:cNvSpPr txBox="1"/>
          <p:nvPr/>
        </p:nvSpPr>
        <p:spPr>
          <a:xfrm>
            <a:off x="6229292" y="2859524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7B055F3-8692-5C49-BB8C-6F17354CE174}"/>
              </a:ext>
            </a:extLst>
          </p:cNvPr>
          <p:cNvSpPr txBox="1"/>
          <p:nvPr/>
        </p:nvSpPr>
        <p:spPr>
          <a:xfrm>
            <a:off x="6434888" y="3547064"/>
            <a:ext cx="9265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Experiment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E26ED12-51CA-C14E-85DE-0B9A4B945985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27" name="Pfeil nach rechts 26">
            <a:extLst>
              <a:ext uri="{FF2B5EF4-FFF2-40B4-BE49-F238E27FC236}">
                <a16:creationId xmlns:a16="http://schemas.microsoft.com/office/drawing/2014/main" id="{41FD484C-E4E6-C845-B93D-A57ACE7E8770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B9B988-949F-834E-A394-E7C7D52647B0}"/>
              </a:ext>
            </a:extLst>
          </p:cNvPr>
          <p:cNvSpPr txBox="1"/>
          <p:nvPr/>
        </p:nvSpPr>
        <p:spPr>
          <a:xfrm>
            <a:off x="6274777" y="5091832"/>
            <a:ext cx="10499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 err="1"/>
              <a:t>Bottom-Up</a:t>
            </a:r>
            <a:endParaRPr lang="de-DE" sz="1600" b="1" dirty="0"/>
          </a:p>
        </p:txBody>
      </p: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B08FEE4-5BC8-664A-90AA-DC580366F97C}"/>
              </a:ext>
            </a:extLst>
          </p:cNvPr>
          <p:cNvSpPr/>
          <p:nvPr/>
        </p:nvSpPr>
        <p:spPr>
          <a:xfrm rot="10800000">
            <a:off x="742171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FC187B2-DA14-A24D-8A77-16F13EE171A4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B52DC2D-6E44-A544-887D-F991981C6440}"/>
              </a:ext>
            </a:extLst>
          </p:cNvPr>
          <p:cNvSpPr txBox="1"/>
          <p:nvPr/>
        </p:nvSpPr>
        <p:spPr>
          <a:xfrm>
            <a:off x="6277181" y="5463171"/>
            <a:ext cx="2414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Inferenz-basierter Ansatz</a:t>
            </a:r>
          </a:p>
        </p:txBody>
      </p:sp>
    </p:spTree>
    <p:extLst>
      <p:ext uri="{BB962C8B-B14F-4D97-AF65-F5344CB8AC3E}">
        <p14:creationId xmlns:p14="http://schemas.microsoft.com/office/powerpoint/2010/main" val="111058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1" grpId="0"/>
      <p:bldP spid="28" grpId="0"/>
      <p:bldP spid="29" grpId="0" animBg="1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FOMOTION 16:9">
  <a:themeElements>
    <a:clrScheme name="Benutzerdefiniert 25">
      <a:dk1>
        <a:srgbClr val="555555"/>
      </a:dk1>
      <a:lt1>
        <a:sysClr val="window" lastClr="FFFFFF"/>
      </a:lt1>
      <a:dk2>
        <a:srgbClr val="194B64"/>
      </a:dk2>
      <a:lt2>
        <a:srgbClr val="F6F6F6"/>
      </a:lt2>
      <a:accent1>
        <a:srgbClr val="FFD282"/>
      </a:accent1>
      <a:accent2>
        <a:srgbClr val="FAAA41"/>
      </a:accent2>
      <a:accent3>
        <a:srgbClr val="F08C23"/>
      </a:accent3>
      <a:accent4>
        <a:srgbClr val="F07328"/>
      </a:accent4>
      <a:accent5>
        <a:srgbClr val="EB5A19"/>
      </a:accent5>
      <a:accent6>
        <a:srgbClr val="E60514"/>
      </a:accent6>
      <a:hlink>
        <a:srgbClr val="F07328"/>
      </a:hlink>
      <a:folHlink>
        <a:srgbClr val="555555"/>
      </a:folHlink>
    </a:clrScheme>
    <a:fontScheme name="Indigo Headhunter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 w="9525" cmpd="sng">
          <a:solidFill>
            <a:srgbClr val="9D9D9D"/>
          </a:solidFill>
        </a:ln>
        <a:effectLst/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D9D9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696"/>
    </a:custClr>
    <a:custClr name="Custom Color 2">
      <a:srgbClr val="E3E3E3"/>
    </a:custClr>
    <a:custClr name="Custom Color 3">
      <a:srgbClr val="C6C6C6"/>
    </a:custClr>
    <a:custClr name="Custom Color 4">
      <a:srgbClr val="9D9D9D"/>
    </a:custClr>
    <a:custClr name="Custom Color 5">
      <a:srgbClr val="878787"/>
    </a:custClr>
    <a:custClr name="Custom Color 6">
      <a:srgbClr val="707070"/>
    </a:custClr>
  </a:custClrLst>
  <a:extLst>
    <a:ext uri="{05A4C25C-085E-4340-85A3-A5531E510DB2}">
      <thm15:themeFamily xmlns:thm15="http://schemas.microsoft.com/office/thememl/2012/main" name="Präsentation1" id="{010A4C70-7BF3-4DCF-A197-D7F76674408E}" vid="{9D18E6E0-891C-4841-886E-726D4C3B653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MOTION 16:9</Template>
  <TotalTime>0</TotalTime>
  <Words>655</Words>
  <Application>Microsoft Macintosh PowerPoint</Application>
  <PresentationFormat>Breitbild</PresentationFormat>
  <Paragraphs>165</Paragraphs>
  <Slides>17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Century Gothic</vt:lpstr>
      <vt:lpstr>INFOMOTION 16:9</vt:lpstr>
      <vt:lpstr>think-cell Folie</vt:lpstr>
      <vt:lpstr>Teile und (Be-) Herrsche  Einführung in Bayessche Hierarchische Modelle</vt:lpstr>
      <vt:lpstr>PowerPoint-Präsentation</vt:lpstr>
      <vt:lpstr>Machine Learning vs. Statistische Modellierung </vt:lpstr>
      <vt:lpstr>Unterschiedliche Hintergründe bestimmen Weltbild und Herangehensweise</vt:lpstr>
      <vt:lpstr>Data Science Stereotypen</vt:lpstr>
      <vt:lpstr>Herangehensweise bei der Modellierung</vt:lpstr>
      <vt:lpstr>Prozess der Modellierung nach Informatikern</vt:lpstr>
      <vt:lpstr>Data Science Stereotypen</vt:lpstr>
      <vt:lpstr>Herangehensweise bei der Modellierung</vt:lpstr>
      <vt:lpstr>Prozess der Modellierung nach Statistikern</vt:lpstr>
      <vt:lpstr>Grundlagen der Bayesschen Modellierung</vt:lpstr>
      <vt:lpstr>Mathematische Formulierung des wissenschaftlichen Prozesses: Der Satz von Bayes</vt:lpstr>
      <vt:lpstr>Das Posteriori Wissen ist eine Kombination von A-Priori Wissen und Beobachtungen</vt:lpstr>
      <vt:lpstr>Prozess der Bayesschen Modellierung</vt:lpstr>
      <vt:lpstr>Pymc3 – Ein probabilistisches Programmierframework</vt:lpstr>
      <vt:lpstr>Vereinfachte Bayessche Modellierung mit Pymc3</vt:lpstr>
      <vt:lpstr>Prax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Thies</dc:creator>
  <cp:lastModifiedBy>Sven Thies</cp:lastModifiedBy>
  <cp:revision>13</cp:revision>
  <dcterms:created xsi:type="dcterms:W3CDTF">2020-09-25T08:54:00Z</dcterms:created>
  <dcterms:modified xsi:type="dcterms:W3CDTF">2021-01-28T14:06:38Z</dcterms:modified>
  <cp:category/>
</cp:coreProperties>
</file>